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96" r:id="rId1"/>
    <p:sldMasterId id="2147483810" r:id="rId2"/>
    <p:sldMasterId id="2147483817" r:id="rId3"/>
    <p:sldMasterId id="2147483824" r:id="rId4"/>
    <p:sldMasterId id="2147483831" r:id="rId5"/>
    <p:sldMasterId id="2147483838" r:id="rId6"/>
    <p:sldMasterId id="2147483843" r:id="rId7"/>
  </p:sldMasterIdLst>
  <p:notesMasterIdLst>
    <p:notesMasterId r:id="rId68"/>
  </p:notesMasterIdLst>
  <p:handoutMasterIdLst>
    <p:handoutMasterId r:id="rId69"/>
  </p:handoutMasterIdLst>
  <p:sldIdLst>
    <p:sldId id="491" r:id="rId8"/>
    <p:sldId id="527" r:id="rId9"/>
    <p:sldId id="528" r:id="rId10"/>
    <p:sldId id="529" r:id="rId11"/>
    <p:sldId id="530" r:id="rId12"/>
    <p:sldId id="531" r:id="rId13"/>
    <p:sldId id="532" r:id="rId14"/>
    <p:sldId id="533" r:id="rId15"/>
    <p:sldId id="534" r:id="rId16"/>
    <p:sldId id="535" r:id="rId17"/>
    <p:sldId id="536" r:id="rId18"/>
    <p:sldId id="537" r:id="rId19"/>
    <p:sldId id="538" r:id="rId20"/>
    <p:sldId id="539" r:id="rId21"/>
    <p:sldId id="540" r:id="rId22"/>
    <p:sldId id="541" r:id="rId23"/>
    <p:sldId id="542" r:id="rId24"/>
    <p:sldId id="543" r:id="rId25"/>
    <p:sldId id="544" r:id="rId26"/>
    <p:sldId id="545" r:id="rId27"/>
    <p:sldId id="546" r:id="rId28"/>
    <p:sldId id="547" r:id="rId29"/>
    <p:sldId id="548" r:id="rId30"/>
    <p:sldId id="549" r:id="rId31"/>
    <p:sldId id="550" r:id="rId32"/>
    <p:sldId id="551" r:id="rId33"/>
    <p:sldId id="552" r:id="rId34"/>
    <p:sldId id="553" r:id="rId35"/>
    <p:sldId id="554" r:id="rId36"/>
    <p:sldId id="555" r:id="rId37"/>
    <p:sldId id="563" r:id="rId38"/>
    <p:sldId id="564" r:id="rId39"/>
    <p:sldId id="565" r:id="rId40"/>
    <p:sldId id="584" r:id="rId41"/>
    <p:sldId id="566" r:id="rId42"/>
    <p:sldId id="556" r:id="rId43"/>
    <p:sldId id="557" r:id="rId44"/>
    <p:sldId id="558" r:id="rId45"/>
    <p:sldId id="559" r:id="rId46"/>
    <p:sldId id="560" r:id="rId47"/>
    <p:sldId id="561" r:id="rId48"/>
    <p:sldId id="562" r:id="rId49"/>
    <p:sldId id="567" r:id="rId50"/>
    <p:sldId id="568" r:id="rId51"/>
    <p:sldId id="569" r:id="rId52"/>
    <p:sldId id="570" r:id="rId53"/>
    <p:sldId id="571" r:id="rId54"/>
    <p:sldId id="572" r:id="rId55"/>
    <p:sldId id="573" r:id="rId56"/>
    <p:sldId id="574" r:id="rId57"/>
    <p:sldId id="575" r:id="rId58"/>
    <p:sldId id="576" r:id="rId59"/>
    <p:sldId id="577" r:id="rId60"/>
    <p:sldId id="578" r:id="rId61"/>
    <p:sldId id="579" r:id="rId62"/>
    <p:sldId id="580" r:id="rId63"/>
    <p:sldId id="581" r:id="rId64"/>
    <p:sldId id="582" r:id="rId65"/>
    <p:sldId id="583" r:id="rId66"/>
    <p:sldId id="500" r:id="rId67"/>
  </p:sldIdLst>
  <p:sldSz cx="12192000" cy="6858000"/>
  <p:notesSz cx="6858000" cy="9144000"/>
  <p:custDataLst>
    <p:tags r:id="rId7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9B"/>
    <a:srgbClr val="FF0066"/>
    <a:srgbClr val="FFFF99"/>
    <a:srgbClr val="FFCC00"/>
    <a:srgbClr val="FB5500"/>
    <a:srgbClr val="E7E7E7"/>
    <a:srgbClr val="CBCBCB"/>
    <a:srgbClr val="3FE137"/>
    <a:srgbClr val="D8E1EC"/>
    <a:srgbClr val="99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5" autoAdjust="0"/>
    <p:restoredTop sz="69510" autoAdjust="0"/>
  </p:normalViewPr>
  <p:slideViewPr>
    <p:cSldViewPr>
      <p:cViewPr varScale="1">
        <p:scale>
          <a:sx n="51" d="100"/>
          <a:sy n="51" d="100"/>
        </p:scale>
        <p:origin x="1620" y="72"/>
      </p:cViewPr>
      <p:guideLst/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1980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4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" Type="http://schemas.openxmlformats.org/officeDocument/2006/relationships/slideMaster" Target="slideMasters/slideMaster7.xml"/><Relationship Id="rId7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ＭＳ Ｐゴシック" pitchFamily="-10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A1052735-156F-416D-9C21-4AABF39F604C}" type="datetime3">
              <a:rPr lang="en-US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ＭＳ Ｐゴシック" pitchFamily="-10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63E6F982-F431-4EEF-B002-3A907CDBE4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0098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ＭＳ Ｐゴシック" pitchFamily="-10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251B0FAB-5814-4E38-945B-F1DDA32D3858}" type="datetime3">
              <a:rPr lang="en-US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ＭＳ Ｐゴシック" pitchFamily="-10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F3330CA-C0F3-4F54-B62B-8D91B01DE5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68531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-104" charset="-128"/>
        <a:cs typeface="ヒラギノ角ゴ Pro W3" pitchFamily="-10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ヒラギノ角ゴ Pro W3" pitchFamily="-10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ヒラギノ角ゴ Pro W3" pitchFamily="-10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ヒラギノ角ゴ Pro W3" pitchFamily="-10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ヒラギノ角ゴ Pro W3" pitchFamily="-10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amllint.com/" TargetMode="External"/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onsole.aws.amazon.com/s3/home?region=eu-west-1" TargetMode="External"/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aws.amazon.com/cli/latest/userguide/installing.html" TargetMode="External"/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docs.aws.amazon.com/cli/latest/userguide/cli-chap-getting-started.html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aws.amazon.com/vm-import/latest/userguide/vmimport-image-import.html" TargetMode="External"/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Relationship Id="rId5" Type="http://schemas.openxmlformats.org/officeDocument/2006/relationships/hyperlink" Target="/home/ec2-user/role-policy.json" TargetMode="External"/><Relationship Id="rId4" Type="http://schemas.openxmlformats.org/officeDocument/2006/relationships/hyperlink" Target="/home/ec2-user/trust-policy.json" TargetMode="Externa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/home/ec2-user/imp_img.json" TargetMode="External"/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sion statemen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3E217F9-4D95-46FC-AC86-D85FCA299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335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um repo adjustments: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 /etc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um.repos.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/public-yum-ol6.repo</a:t>
            </a: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isable: ol7_UEKR4 and ol7_UEKR3.</a:t>
            </a:r>
            <a:b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ou don’t want to get those kernels back with a yum update just yet.</a:t>
            </a:r>
            <a:b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Enable: ol7_optional_latest, ol7_addons</a:t>
            </a:r>
          </a:p>
          <a:p>
            <a:pPr fontAlgn="base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567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stall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ltarpm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, system-storage-manager and wget: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um install -y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ltarp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system-storage-manager wget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m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(Only wget is really necessary to enable/download the EPEL repo. The others are useful)</a:t>
            </a:r>
          </a:p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ange to a directory where you can store the rpm and install it.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 For example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d ~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wget https://dl.fedoraproject.org/pub/epel/epel-release-latest-6.noarch.rpm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pm 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vh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epel-release-latest-6.noarch.rp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832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um install -y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lwrap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cloud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tils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growpart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</a:t>
            </a:r>
          </a:p>
          <a:p>
            <a:endParaRPr lang="en-US" sz="1200" b="1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(cloud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</a:t>
            </a:r>
            <a:r>
              <a:rPr lang="en-US" sz="1200" b="1" i="0" kern="1200" baseline="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0.7.5 has some bug relating to user creation and pushing SSH Public key from AWS. Please upgrade or downgrade cloud-</a:t>
            </a:r>
            <a:r>
              <a:rPr lang="en-US" sz="1200" b="1" i="0" kern="1200" baseline="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</a:t>
            </a:r>
            <a:r>
              <a:rPr lang="en-US" sz="1200" b="1" i="0" kern="1200" baseline="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if required by downloading the rpm from https://www.rpmfind.net/linux/rpm2html/search.php?query=cloud-init. May need to set </a:t>
            </a:r>
            <a:r>
              <a:rPr lang="en-US" sz="1200" b="1" i="0" kern="1200" baseline="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ftp_proxy</a:t>
            </a:r>
            <a:r>
              <a:rPr lang="en-US" sz="1200" b="1" i="0" kern="1200" baseline="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in .bash_profile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)</a:t>
            </a:r>
          </a:p>
          <a:p>
            <a:endParaRPr lang="en-US" sz="1200" b="1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eck your Firewall setting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 (SSH should be enabled!)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ou should see something like for your default-zone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terfaces: 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eth0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rvices: dhcpv6-client 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279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ange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Linux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to permissiv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 (might not be really needed, but I haven’t tested it without this)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 /etc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linux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onfi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ange: SELINUX=enforc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o: SELINUX=permissive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72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Now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.cf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should look like this: (between the =====)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sers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default</a:t>
            </a: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isable_roo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1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_pwauth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   0</a:t>
            </a: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mount_default_field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[~, ~, ‘auto’, ‘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faults,nofai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’, ‘0’, ‘2’]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esize_rootfs_tmp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/dev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_deletekey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   1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_genkeytyp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  ~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yslog_fix_perm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~</a:t>
            </a: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_init_modul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migrator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bootcm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write-file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growpar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esizef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t_hostnam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pdate_hostnam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pdate_etc_host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syslo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users-group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sh</a:t>
            </a: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_config_modul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mount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local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et-password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yum-add-repo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package-update-upgrade-install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imezon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puppet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chef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alt-minion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mcollectiv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disable-ec2-metadata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uncmd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_final_modul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ightscale_userdat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cripts-per-onc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cripts-per-boot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cripts-per-instanc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cripts-user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ssh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authke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-fingerprint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keys-to-consol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phone-hom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– final-message</a:t>
            </a:r>
          </a:p>
          <a:p>
            <a:pPr fontAlgn="base"/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ystem_info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fault_use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name: ec2-user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lock_passw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true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geco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Oracle Linux Cloud User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groups: [wheel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ad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ystem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-journal]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udo: [“ALL=(ALL) NOPASSWD:ALL”]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hell: /bin/bash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istro: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he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/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paths: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_di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a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/lib/cloud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emplates_di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/etc/cloud/template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_svcnam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: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shd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#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m:syntax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=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aml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With thi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.cf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you will get new ssh keys for the server when you deploy a new instance, a user “ec2-user” that has password less sudo rights to root, and direct ssh to root becomes disabled as well as using a password for ssh authentication.</a:t>
            </a:r>
          </a:p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**** Remember, when you reboot now cloud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will kick in and only console access to root will be available. Ssh to root is disabled ****</a:t>
            </a:r>
            <a:b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**** because you do not have an http server running serving ssh keys for the new ec2-user that cloud-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can use ****</a:t>
            </a:r>
            <a:b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**** It might be prudent to validate your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loud.cfg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is a valid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aml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file via </a:t>
            </a: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  <a:hlinkClick r:id="rId3"/>
              </a:rPr>
              <a:t>http://www.yamllint.com/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 ****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9518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Check for the latest packages and update:</a:t>
            </a:r>
            <a:b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</a:b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fontAlgn="base"/>
            <a:r>
              <a:rPr lang="en-US" dirty="0" smtClean="0">
                <a:effectLst/>
                <a:latin typeface="inherit"/>
              </a:rPr>
              <a:t>yum check-update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yum update -y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5670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algn="l" fontAlgn="base"/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Ad 4) Clean your soon to  be AMI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You might want to clean the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VirtualBox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machine of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logfiles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and executed commands etc:</a:t>
            </a:r>
          </a:p>
          <a:p>
            <a:pPr fontAlgn="base"/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 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ib/cloud/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cloud-init.log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cloud-init-output.log</a:t>
            </a:r>
          </a:p>
          <a:p>
            <a:pPr fontAlgn="base"/>
            <a:r>
              <a:rPr lang="en-US" dirty="0" smtClean="0">
                <a:effectLst/>
                <a:latin typeface="inherit"/>
              </a:rPr>
              <a:t>yum -y clean packages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cache/yum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ib/yum</a:t>
            </a:r>
          </a:p>
          <a:p>
            <a:pPr fontAlgn="base"/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messages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boot.log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</a:t>
            </a:r>
            <a:r>
              <a:rPr lang="en-US" dirty="0" err="1" smtClean="0">
                <a:effectLst/>
                <a:latin typeface="inherit"/>
              </a:rPr>
              <a:t>dmesg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</a:t>
            </a:r>
            <a:r>
              <a:rPr lang="en-US" dirty="0" err="1" smtClean="0">
                <a:effectLst/>
                <a:latin typeface="inherit"/>
              </a:rPr>
              <a:t>dmesg.old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</a:t>
            </a:r>
            <a:r>
              <a:rPr lang="en-US" dirty="0" err="1" smtClean="0">
                <a:effectLst/>
                <a:latin typeface="inherit"/>
              </a:rPr>
              <a:t>lastlog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yum.log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/</a:t>
            </a:r>
            <a:r>
              <a:rPr lang="en-US" dirty="0" err="1" smtClean="0">
                <a:effectLst/>
                <a:latin typeface="inherit"/>
              </a:rPr>
              <a:t>var</a:t>
            </a:r>
            <a:r>
              <a:rPr lang="en-US" dirty="0" smtClean="0">
                <a:effectLst/>
                <a:latin typeface="inherit"/>
              </a:rPr>
              <a:t>/log/</a:t>
            </a:r>
            <a:r>
              <a:rPr lang="en-US" dirty="0" err="1" smtClean="0">
                <a:effectLst/>
                <a:latin typeface="inherit"/>
              </a:rPr>
              <a:t>wtmp</a:t>
            </a:r>
            <a:endParaRPr lang="en-US" dirty="0" smtClean="0">
              <a:effectLst/>
              <a:latin typeface="inherit"/>
            </a:endParaRPr>
          </a:p>
          <a:p>
            <a:pPr fontAlgn="base"/>
            <a:endParaRPr lang="en-US" dirty="0" smtClean="0">
              <a:effectLst/>
              <a:latin typeface="inherit"/>
            </a:endParaRPr>
          </a:p>
          <a:p>
            <a:pPr fontAlgn="base"/>
            <a:r>
              <a:rPr lang="en-US" dirty="0" smtClean="0">
                <a:effectLst/>
                <a:latin typeface="inherit"/>
              </a:rPr>
              <a:t>find / -name .</a:t>
            </a:r>
            <a:r>
              <a:rPr lang="en-US" dirty="0" err="1" smtClean="0">
                <a:effectLst/>
                <a:latin typeface="inherit"/>
              </a:rPr>
              <a:t>bash_history</a:t>
            </a:r>
            <a:r>
              <a:rPr lang="en-US" dirty="0" smtClean="0">
                <a:effectLst/>
                <a:latin typeface="inherit"/>
              </a:rPr>
              <a:t> -exec 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{} +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find / -name .</a:t>
            </a:r>
            <a:r>
              <a:rPr lang="en-US" dirty="0" err="1" smtClean="0">
                <a:effectLst/>
                <a:latin typeface="inherit"/>
              </a:rPr>
              <a:t>Xauthority</a:t>
            </a:r>
            <a:r>
              <a:rPr lang="en-US" dirty="0" smtClean="0">
                <a:effectLst/>
                <a:latin typeface="inherit"/>
              </a:rPr>
              <a:t> -exec 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{} +                              this will delete the</a:t>
            </a:r>
            <a:r>
              <a:rPr lang="en-US" baseline="0" dirty="0" smtClean="0">
                <a:effectLst/>
                <a:latin typeface="inherit"/>
              </a:rPr>
              <a:t> .</a:t>
            </a:r>
            <a:r>
              <a:rPr lang="en-US" baseline="0" dirty="0" err="1" smtClean="0">
                <a:effectLst/>
                <a:latin typeface="inherit"/>
              </a:rPr>
              <a:t>Xauthority</a:t>
            </a:r>
            <a:r>
              <a:rPr lang="en-US" baseline="0" dirty="0" smtClean="0">
                <a:effectLst/>
                <a:latin typeface="inherit"/>
              </a:rPr>
              <a:t>  keys (including backdoor entry keys)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find / -name </a:t>
            </a:r>
            <a:r>
              <a:rPr lang="en-US" dirty="0" err="1" smtClean="0">
                <a:effectLst/>
                <a:latin typeface="inherit"/>
              </a:rPr>
              <a:t>authorized_keys</a:t>
            </a:r>
            <a:r>
              <a:rPr lang="en-US" dirty="0" smtClean="0">
                <a:effectLst/>
                <a:latin typeface="inherit"/>
              </a:rPr>
              <a:t> -exec rm -</a:t>
            </a:r>
            <a:r>
              <a:rPr lang="en-US" dirty="0" err="1" smtClean="0">
                <a:effectLst/>
                <a:latin typeface="inherit"/>
              </a:rPr>
              <a:t>rf</a:t>
            </a:r>
            <a:r>
              <a:rPr lang="en-US" dirty="0" smtClean="0">
                <a:effectLst/>
                <a:latin typeface="inherit"/>
              </a:rPr>
              <a:t> {} +                      this will delete the</a:t>
            </a:r>
            <a:r>
              <a:rPr lang="en-US" baseline="0" dirty="0" smtClean="0">
                <a:effectLst/>
                <a:latin typeface="inherit"/>
              </a:rPr>
              <a:t> authorized keys (including backdoor entry keys)</a:t>
            </a:r>
            <a:endParaRPr lang="en-US" dirty="0" smtClean="0">
              <a:effectLst/>
              <a:latin typeface="inherit"/>
            </a:endParaRPr>
          </a:p>
          <a:p>
            <a:pPr fontAlgn="base"/>
            <a:endParaRPr lang="en-US" dirty="0" smtClean="0">
              <a:effectLst/>
              <a:latin typeface="inherit"/>
            </a:endParaRPr>
          </a:p>
          <a:p>
            <a:pPr fontAlgn="base"/>
            <a:r>
              <a:rPr lang="en-US" dirty="0" smtClean="0">
                <a:effectLst/>
                <a:latin typeface="inherit"/>
              </a:rPr>
              <a:t>history -c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shutdown -h now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5863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Ad 5) Export your </a:t>
            </a:r>
            <a:r>
              <a:rPr lang="en-US" b="1" i="0" dirty="0" err="1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VirtualBox</a:t>
            </a:r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 machine as an OVA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In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VirtualBox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Manager: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8397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Create an S3 bucket and upload your OVA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Log in to your AWS console choose the region where you want your AMI to be created and create a bucket there (or re-use one that you already have):</a:t>
            </a:r>
          </a:p>
          <a:p>
            <a:pPr algn="l" fontAlgn="base"/>
            <a:r>
              <a:rPr lang="en-US" b="0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3"/>
              </a:rPr>
              <a:t>https://console.aws.amazon.com/s3/home?region=eu-west-1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(I used the region eu-west-1)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9408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algn="l" fontAlgn="base"/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Ad 7) Use </a:t>
            </a:r>
            <a:r>
              <a:rPr lang="en-US" b="1" i="0" dirty="0" err="1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aws</a:t>
            </a:r>
            <a:r>
              <a:rPr lang="en-US" b="1" i="0" dirty="0" smtClean="0">
                <a:solidFill>
                  <a:srgbClr val="19232D"/>
                </a:solidFill>
                <a:effectLst/>
                <a:latin typeface="Arial" panose="020B0604020202020204" pitchFamily="34" charset="0"/>
              </a:rPr>
              <a:t> cli to import your image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Before you can import the OVA file you need to put it in the created bucket. You can upload it via the browser or use “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aws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cli” to do that. I prefer the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aws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cli because that always works and the browser upload gave me problems.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How to install the command line interface is described here: </a:t>
            </a:r>
            <a:r>
              <a:rPr lang="en-US" b="0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3"/>
              </a:rPr>
              <a:t>http://docs.aws.amazon.com/cli/latest/userguide/installing.html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On an Oracle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linux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7 machine it comes down to: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fontAlgn="base"/>
            <a:r>
              <a:rPr lang="en-US" dirty="0" smtClean="0">
                <a:effectLst/>
                <a:latin typeface="inherit"/>
              </a:rPr>
              <a:t>yum install -y python34.x86_64 python34-pip.noarch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pip3 install –upgrade pip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err="1" smtClean="0">
                <a:effectLst/>
                <a:latin typeface="inherit"/>
              </a:rPr>
              <a:t>pip</a:t>
            </a:r>
            <a:r>
              <a:rPr lang="en-US" dirty="0" smtClean="0">
                <a:effectLst/>
                <a:latin typeface="inherit"/>
              </a:rPr>
              <a:t> install –upgrade </a:t>
            </a:r>
            <a:r>
              <a:rPr lang="en-US" dirty="0" err="1" smtClean="0">
                <a:effectLst/>
                <a:latin typeface="inherit"/>
              </a:rPr>
              <a:t>awscli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 –version</a:t>
            </a:r>
          </a:p>
          <a:p>
            <a:pPr algn="l" fontAlgn="base"/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Then it is necessary to configure it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, which is basically (</a:t>
            </a:r>
            <a:r>
              <a:rPr lang="en-US" b="0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4"/>
              </a:rPr>
              <a:t>http://docs.aws.amazon.com/cli/latest/userguide/cli-chap-getting-started.html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):</a:t>
            </a:r>
          </a:p>
          <a:p>
            <a:pPr fontAlgn="base"/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 configure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And answer the questions by supplying your credentials and your preferences. These are fake credentials below</a:t>
            </a:r>
          </a:p>
          <a:p>
            <a:pPr fontAlgn="base"/>
            <a:r>
              <a:rPr lang="en-US" dirty="0" smtClean="0">
                <a:effectLst/>
                <a:latin typeface="inherit"/>
              </a:rPr>
              <a:t>AWS Access Key ID [None]: AKIAIOSFODNN7EXAMPLE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AWS Secret Access Key [None]: </a:t>
            </a:r>
            <a:r>
              <a:rPr lang="en-US" dirty="0" err="1" smtClean="0">
                <a:effectLst/>
                <a:latin typeface="inherit"/>
              </a:rPr>
              <a:t>wJalrXUtnFEMI</a:t>
            </a:r>
            <a:r>
              <a:rPr lang="en-US" dirty="0" smtClean="0">
                <a:effectLst/>
                <a:latin typeface="inherit"/>
              </a:rPr>
              <a:t>/K7MDENG/</a:t>
            </a:r>
            <a:r>
              <a:rPr lang="en-US" dirty="0" err="1" smtClean="0">
                <a:effectLst/>
                <a:latin typeface="inherit"/>
              </a:rPr>
              <a:t>bPxRfiCYEXAMPLEKEY</a:t>
            </a:r>
            <a:r>
              <a:rPr lang="en-US" dirty="0" smtClean="0">
                <a:effectLst/>
                <a:latin typeface="inherit"/>
              </a:rPr>
              <a:t/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Default region name [None]: eu-west-1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Default output format [None]: </a:t>
            </a:r>
            <a:r>
              <a:rPr lang="en-US" dirty="0" err="1" smtClean="0">
                <a:effectLst/>
                <a:latin typeface="inherit"/>
              </a:rPr>
              <a:t>json</a:t>
            </a:r>
            <a:endParaRPr lang="en-US" dirty="0" smtClean="0">
              <a:effectLst/>
              <a:latin typeface="inherit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The answers will be saved in two files:</a:t>
            </a:r>
          </a:p>
          <a:p>
            <a:pPr fontAlgn="base"/>
            <a:r>
              <a:rPr lang="en-US" dirty="0" smtClean="0">
                <a:effectLst/>
                <a:latin typeface="inherit"/>
              </a:rPr>
              <a:t>~/.</a:t>
            </a:r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/credentials</a:t>
            </a:r>
            <a:br>
              <a:rPr lang="en-US" dirty="0" smtClean="0">
                <a:effectLst/>
                <a:latin typeface="inherit"/>
              </a:rPr>
            </a:br>
            <a:r>
              <a:rPr lang="en-US" dirty="0" smtClean="0">
                <a:effectLst/>
                <a:latin typeface="inherit"/>
              </a:rPr>
              <a:t>~/.</a:t>
            </a:r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/</a:t>
            </a:r>
            <a:r>
              <a:rPr lang="en-US" dirty="0" err="1" smtClean="0">
                <a:effectLst/>
                <a:latin typeface="inherit"/>
              </a:rPr>
              <a:t>config</a:t>
            </a:r>
            <a:endParaRPr lang="en-US" dirty="0" smtClean="0">
              <a:effectLst/>
              <a:latin typeface="inherit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To test the access try to do a listing of your bucket:</a:t>
            </a:r>
          </a:p>
          <a:p>
            <a:pPr fontAlgn="base"/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 s3 ls s3://amis-share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To upload the generated OVA file is then as simple as:</a:t>
            </a:r>
          </a:p>
          <a:p>
            <a:pPr fontAlgn="base"/>
            <a:r>
              <a:rPr lang="en-US" dirty="0" err="1" smtClean="0">
                <a:effectLst/>
                <a:latin typeface="inherit"/>
              </a:rPr>
              <a:t>aws</a:t>
            </a:r>
            <a:r>
              <a:rPr lang="en-US" dirty="0" smtClean="0">
                <a:effectLst/>
                <a:latin typeface="inherit"/>
              </a:rPr>
              <a:t> s3 cp /</a:t>
            </a:r>
            <a:r>
              <a:rPr lang="en-US" dirty="0" err="1" smtClean="0">
                <a:effectLst/>
                <a:latin typeface="inherit"/>
              </a:rPr>
              <a:t>file_path</a:t>
            </a:r>
            <a:r>
              <a:rPr lang="en-US" dirty="0" smtClean="0">
                <a:effectLst/>
                <a:latin typeface="inherit"/>
              </a:rPr>
              <a:t>/OL73.ova s3://amis-share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The time it takes depends on your upload speed.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64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221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 fontAlgn="base"/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Create the necessary IAM role and policy 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(</a:t>
            </a:r>
            <a:r>
              <a:rPr lang="en-US" b="0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3"/>
              </a:rPr>
              <a:t>http://docs.aws.amazon.com/vm-import/latest/userguide/vmimport-image-import.html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)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: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Create a trust-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policy.json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file:</a:t>
            </a:r>
          </a:p>
          <a:p>
            <a:pPr algn="l" fontAlgn="base"/>
            <a:r>
              <a:rPr lang="en-US" dirty="0" smtClean="0"/>
              <a:t>vi trust-</a:t>
            </a:r>
            <a:r>
              <a:rPr lang="en-US" dirty="0" err="1" smtClean="0"/>
              <a:t>policy.json</a:t>
            </a:r>
            <a:r>
              <a:rPr lang="en-US" dirty="0" smtClean="0"/>
              <a:t> { "Version": "2012-10-17", "Statement": [ { "Effect": "Allow", "Principal": { "Service": "vmie.amazonaws.com" }, "Action": "</a:t>
            </a:r>
            <a:r>
              <a:rPr lang="en-US" dirty="0" err="1" smtClean="0"/>
              <a:t>sts:AssumeRole</a:t>
            </a:r>
            <a:r>
              <a:rPr lang="en-US" dirty="0" smtClean="0"/>
              <a:t>", "Condition": { "</a:t>
            </a:r>
            <a:r>
              <a:rPr lang="en-US" dirty="0" err="1" smtClean="0"/>
              <a:t>StringEquals</a:t>
            </a:r>
            <a:r>
              <a:rPr lang="en-US" dirty="0" smtClean="0"/>
              <a:t>":{ "</a:t>
            </a:r>
            <a:r>
              <a:rPr lang="en-US" dirty="0" err="1" smtClean="0"/>
              <a:t>sts:Externalid</a:t>
            </a:r>
            <a:r>
              <a:rPr lang="en-US" dirty="0" smtClean="0"/>
              <a:t>": "</a:t>
            </a:r>
            <a:r>
              <a:rPr lang="en-US" dirty="0" err="1" smtClean="0"/>
              <a:t>vmimport</a:t>
            </a:r>
            <a:r>
              <a:rPr lang="en-US" dirty="0" smtClean="0"/>
              <a:t>" } } } ] }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Create the IAM role: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aws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iam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create-role –role-name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vmimport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–assume-role-policy-document </a:t>
            </a:r>
            <a:r>
              <a:rPr lang="en-US" b="1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4"/>
              </a:rPr>
              <a:t>file:///home/ec2-user/trust-policy.json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Create the role-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policy.json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file:</a:t>
            </a: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Change the file to use your S3 bucket (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amis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-share/*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).</a:t>
            </a:r>
          </a:p>
          <a:p>
            <a:pPr algn="l" fontAlgn="base"/>
            <a:r>
              <a:rPr lang="en-US" dirty="0" smtClean="0"/>
              <a:t>vi role-</a:t>
            </a:r>
            <a:r>
              <a:rPr lang="en-US" dirty="0" err="1" smtClean="0"/>
              <a:t>policy.json</a:t>
            </a:r>
            <a:r>
              <a:rPr lang="en-US" dirty="0" smtClean="0"/>
              <a:t> { "Version": "2012-10-17", "Statement": [ { "Effect": "Allow", "Action": [ "s3:ListBucket", "s3:GetBucketLocation" ], "Resource": [ "arn:aws:s3:::</a:t>
            </a:r>
            <a:r>
              <a:rPr lang="en-US" dirty="0" err="1" smtClean="0">
                <a:effectLst/>
                <a:latin typeface="inherit"/>
              </a:rPr>
              <a:t>amis</a:t>
            </a:r>
            <a:r>
              <a:rPr lang="en-US" dirty="0" smtClean="0">
                <a:effectLst/>
                <a:latin typeface="inherit"/>
              </a:rPr>
              <a:t>-share</a:t>
            </a:r>
            <a:r>
              <a:rPr lang="en-US" dirty="0" smtClean="0"/>
              <a:t>" ] }, { "Effect": "Allow", "Action": [ "s3:GetObject" ], "Resource": [ "arn:aws:s3:::</a:t>
            </a:r>
            <a:r>
              <a:rPr lang="en-US" dirty="0" err="1" smtClean="0">
                <a:effectLst/>
                <a:latin typeface="inherit"/>
              </a:rPr>
              <a:t>amis</a:t>
            </a:r>
            <a:r>
              <a:rPr lang="en-US" dirty="0" smtClean="0">
                <a:effectLst/>
                <a:latin typeface="inherit"/>
              </a:rPr>
              <a:t>-share/*</a:t>
            </a:r>
            <a:r>
              <a:rPr lang="en-US" dirty="0" smtClean="0"/>
              <a:t>" ] }, { "Effect": "Allow", "Action":[ "ec2:ModifySnapshotAttribute", "ec2:CopySnapshot", "ec2:RegisterImage", "ec2:Describe*" ], "Resource": "*" } ] }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aws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iam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put-role-policy –role-name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vmimport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–policy-name 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vmimport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–policy-document </a:t>
            </a:r>
            <a:r>
              <a:rPr lang="en-US" b="1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5"/>
              </a:rPr>
              <a:t>file:///home/ec2-user/role-policy.json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646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Now you should be able to import the OVA.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Prepare a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json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file with the following contents (adjust to your own situation):</a:t>
            </a:r>
          </a:p>
          <a:p>
            <a:pPr algn="l" fontAlgn="base"/>
            <a:r>
              <a:rPr lang="en-US" dirty="0" smtClean="0"/>
              <a:t>cat </a:t>
            </a:r>
            <a:r>
              <a:rPr lang="en-US" dirty="0" err="1" smtClean="0"/>
              <a:t>imp_img.json</a:t>
            </a:r>
            <a:r>
              <a:rPr lang="en-US" dirty="0" smtClean="0"/>
              <a:t> { "</a:t>
            </a:r>
            <a:r>
              <a:rPr lang="en-US" dirty="0" err="1" smtClean="0"/>
              <a:t>DryRun</a:t>
            </a:r>
            <a:r>
              <a:rPr lang="en-US" dirty="0" smtClean="0"/>
              <a:t>": false, "Description": "</a:t>
            </a:r>
            <a:r>
              <a:rPr lang="en-US" dirty="0" smtClean="0">
                <a:effectLst/>
                <a:latin typeface="inherit"/>
              </a:rPr>
              <a:t>OL73 OVA</a:t>
            </a:r>
            <a:r>
              <a:rPr lang="en-US" dirty="0" smtClean="0"/>
              <a:t>", "</a:t>
            </a:r>
            <a:r>
              <a:rPr lang="en-US" dirty="0" err="1" smtClean="0"/>
              <a:t>DiskContainers</a:t>
            </a:r>
            <a:r>
              <a:rPr lang="en-US" dirty="0" smtClean="0"/>
              <a:t>": [ { "Description": "OL73 OVA", "Format": "ova", "</a:t>
            </a:r>
            <a:r>
              <a:rPr lang="en-US" dirty="0" err="1" smtClean="0"/>
              <a:t>UserBucket</a:t>
            </a:r>
            <a:r>
              <a:rPr lang="en-US" dirty="0" smtClean="0"/>
              <a:t>": { "S3Bucket": "</a:t>
            </a:r>
            <a:r>
              <a:rPr lang="en-US" dirty="0" err="1" smtClean="0">
                <a:effectLst/>
                <a:latin typeface="inherit"/>
              </a:rPr>
              <a:t>amis</a:t>
            </a:r>
            <a:r>
              <a:rPr lang="en-US" dirty="0" smtClean="0">
                <a:effectLst/>
                <a:latin typeface="inherit"/>
              </a:rPr>
              <a:t>-share</a:t>
            </a:r>
            <a:r>
              <a:rPr lang="en-US" dirty="0" smtClean="0"/>
              <a:t>", "S3Key": "</a:t>
            </a:r>
            <a:r>
              <a:rPr lang="en-US" dirty="0" smtClean="0">
                <a:effectLst/>
                <a:latin typeface="inherit"/>
              </a:rPr>
              <a:t>OL73.ova</a:t>
            </a:r>
            <a:r>
              <a:rPr lang="en-US" dirty="0" smtClean="0"/>
              <a:t>" } } ], "</a:t>
            </a:r>
            <a:r>
              <a:rPr lang="en-US" dirty="0" err="1" smtClean="0"/>
              <a:t>LicenseType</a:t>
            </a:r>
            <a:r>
              <a:rPr lang="en-US" dirty="0" smtClean="0"/>
              <a:t>": "BYOL", "Hypervisor": "</a:t>
            </a:r>
            <a:r>
              <a:rPr lang="en-US" dirty="0" err="1" smtClean="0"/>
              <a:t>xen</a:t>
            </a:r>
            <a:r>
              <a:rPr lang="en-US" dirty="0" smtClean="0"/>
              <a:t>", "Architecture": "x86_64", "Platform": "Linux", "</a:t>
            </a:r>
            <a:r>
              <a:rPr lang="en-US" dirty="0" err="1" smtClean="0"/>
              <a:t>ClientData</a:t>
            </a:r>
            <a:r>
              <a:rPr lang="en-US" dirty="0" smtClean="0"/>
              <a:t>": { "Comment": "OL73" } }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Then start the actual import job: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aws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ec2 import-image –cli-input-</a:t>
            </a: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json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 </a:t>
            </a:r>
            <a:r>
              <a:rPr lang="en-US" b="1" i="0" u="none" strike="noStrike" dirty="0" smtClean="0">
                <a:solidFill>
                  <a:srgbClr val="E32219"/>
                </a:solidFill>
                <a:effectLst/>
                <a:latin typeface="inherit"/>
                <a:hlinkClick r:id="rId3"/>
              </a:rPr>
              <a:t>file:///home/ec2-user/imp_img.json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pPr algn="l" fontAlgn="base"/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The command </a:t>
            </a:r>
            <a:r>
              <a:rPr lang="en-US" b="0" i="0" dirty="0" err="1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retuns</a:t>
            </a:r>
            <a: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  <a:t> with the name of the import job which you can then use to get the progress:</a:t>
            </a:r>
            <a:br>
              <a:rPr lang="en-US" b="0" i="0" dirty="0" smtClean="0">
                <a:solidFill>
                  <a:srgbClr val="606569"/>
                </a:solidFill>
                <a:effectLst/>
                <a:latin typeface="Arial" panose="020B0604020202020204" pitchFamily="34" charset="0"/>
              </a:rPr>
            </a:br>
            <a:r>
              <a:rPr lang="en-US" b="1" i="0" dirty="0" err="1" smtClean="0">
                <a:solidFill>
                  <a:srgbClr val="606569"/>
                </a:solidFill>
                <a:effectLst/>
                <a:latin typeface="inherit"/>
              </a:rPr>
              <a:t>aws</a:t>
            </a:r>
            <a:r>
              <a:rPr lang="en-US" b="1" i="0" dirty="0" smtClean="0">
                <a:solidFill>
                  <a:srgbClr val="606569"/>
                </a:solidFill>
                <a:effectLst/>
                <a:latin typeface="inherit"/>
              </a:rPr>
              <a:t> ec2 describe-import-image-tasks –import-task-ids import-ami-fgotr2g7</a:t>
            </a:r>
            <a:endParaRPr lang="en-US" b="0" i="0" dirty="0" smtClean="0">
              <a:solidFill>
                <a:srgbClr val="606569"/>
              </a:solidFill>
              <a:effectLst/>
              <a:latin typeface="Arial" panose="020B0604020202020204" pitchFamily="34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aws</a:t>
            </a:r>
            <a:r>
              <a:rPr lang="en-US" dirty="0" smtClean="0"/>
              <a:t> ec2 import-image --cli-input-</a:t>
            </a:r>
            <a:r>
              <a:rPr lang="en-US" dirty="0" err="1" smtClean="0"/>
              <a:t>json</a:t>
            </a:r>
            <a:r>
              <a:rPr lang="en-US" dirty="0" smtClean="0"/>
              <a:t> file://D:/AWS-Keys-Files/s3-bucket-json/OracleLinux-6.9-RHCK-AMI-pbasu-v1-import.json</a:t>
            </a:r>
          </a:p>
          <a:p>
            <a:r>
              <a:rPr lang="en-US" dirty="0" err="1" smtClean="0"/>
              <a:t>aws</a:t>
            </a:r>
            <a:r>
              <a:rPr lang="en-US" dirty="0" smtClean="0"/>
              <a:t> ec2 describe-import-image-tasks --import-task-ids import-</a:t>
            </a:r>
            <a:r>
              <a:rPr lang="en-US" dirty="0" err="1" smtClean="0"/>
              <a:t>ami</a:t>
            </a:r>
            <a:r>
              <a:rPr lang="en-US" dirty="0" smtClean="0"/>
              <a:t>-</a:t>
            </a:r>
            <a:r>
              <a:rPr lang="en-US" dirty="0" err="1" smtClean="0"/>
              <a:t>ffyxwqse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3577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sion statemen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E217F9-4D95-46FC-AC86-D85FCA299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654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t /etc/</a:t>
            </a:r>
            <a:r>
              <a:rPr lang="en-US" dirty="0" err="1" smtClean="0"/>
              <a:t>grub.conf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436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 /etc/</a:t>
            </a:r>
            <a:r>
              <a:rPr lang="en-US" dirty="0" err="1" smtClean="0"/>
              <a:t>grub.conf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641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 /etc/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ysconfi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/network-scripts/ifcfg-eth0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157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ange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racut.conf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*** this is very important. In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rtualBox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the XEN drivers do not get installed in the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ramfs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image and that will prevent your AMI from booting in AWS if it is not fixed ***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 /etc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racut.conf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adjust the following two lines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# additional kernel modules to the default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#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add_driver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+=””</a:t>
            </a: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o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# additional kernel modules to the default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</a:b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add_driver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+=”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en-blkfron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en-netfron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”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623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emporarily change default kernel: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(AW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MImpo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has issues when the UEK kernels are installed or even present)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i /etc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ysconfi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/kernel</a:t>
            </a: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change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FAULTKERNEL=kernel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ek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to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EFAULTKERNEL=kernel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480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emove the UEK kernel: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yum erase -y kernel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ek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kernel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uek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-firmware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97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rubby --info=ALL</a:t>
            </a:r>
          </a:p>
          <a:p>
            <a:endParaRPr lang="en-US" dirty="0" smtClean="0"/>
          </a:p>
          <a:p>
            <a:r>
              <a:rPr lang="en-US" dirty="0" smtClean="0"/>
              <a:t>grubby --default-kernel</a:t>
            </a:r>
          </a:p>
          <a:p>
            <a:endParaRPr lang="en-US" dirty="0" smtClean="0"/>
          </a:p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ebuild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ramfs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to contain the </a:t>
            </a:r>
            <a:r>
              <a:rPr lang="en-US" sz="1200" b="1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en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drivers for all the installed kernels: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ヒラギノ角ゴ Pro W3" pitchFamily="-104" charset="-128"/>
              <a:cs typeface="ヒラギノ角ゴ Pro W3" pitchFamily="-104" charset="-128"/>
            </a:endParaRP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pm 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q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kernel |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's/^kernel-//' |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arg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-I {}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dracu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-f /boot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nitramf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-{}.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m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{}</a:t>
            </a:r>
          </a:p>
          <a:p>
            <a:pPr fontAlgn="base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Verify that th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drivers are indeed available:</a:t>
            </a:r>
          </a:p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rpm 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q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kernel |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se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's/^kernel-//' |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arg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-I {}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lsinitr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-k {}|grep 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ヒラギノ角ゴ Pro W3" pitchFamily="-104" charset="-128"/>
                <a:cs typeface="ヒラギノ角ゴ Pro W3" pitchFamily="-104" charset="-128"/>
              </a:rPr>
              <a:t>xen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1B0FAB-5814-4E38-945B-F1DDA32D3858}" type="datetime3">
              <a:rPr lang="en-US" smtClean="0"/>
              <a:pPr>
                <a:defRPr/>
              </a:pPr>
              <a:t>10 August 2017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F3330CA-C0F3-4F54-B62B-8D91B01DE5C7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726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478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200" smtClean="0">
                <a:solidFill>
                  <a:srgbClr val="FFFFFF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0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42000" indent="-342000">
              <a:lnSpc>
                <a:spcPct val="90000"/>
              </a:lnSpc>
              <a:buNone/>
              <a:defRPr sz="220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7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0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42689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Suhas Jadhav\D Drive\2014_Mphasis Brand\PPT\jan 2014\Mphasis\Posters and cover\cover PNG\Cover_ok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903414"/>
            <a:ext cx="12210583" cy="495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D:\Suhas Jadhav\D Drive\2014_Mphasis Brand\Suhas logo\Format\Mphasis-Logo Color_CMYK 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4860" y="168310"/>
            <a:ext cx="2698757" cy="614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518584" y="1903414"/>
            <a:ext cx="11684000" cy="15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" y="1905000"/>
            <a:ext cx="1219623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29773" y="836712"/>
            <a:ext cx="2428091" cy="792162"/>
          </a:xfrm>
          <a:prstGeom prst="rect">
            <a:avLst/>
          </a:prstGeom>
        </p:spPr>
        <p:txBody>
          <a:bodyPr/>
          <a:lstStyle>
            <a:lvl1pPr marL="14288" indent="0">
              <a:buNone/>
              <a:defRPr lang="en-IN" sz="160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811200" y="1268761"/>
            <a:ext cx="8261131" cy="360040"/>
          </a:xfrm>
          <a:prstGeom prst="rect">
            <a:avLst/>
          </a:prstGeom>
        </p:spPr>
        <p:txBody>
          <a:bodyPr tIns="0" rIns="0" bIns="0" anchor="ctr" anchorCtr="0">
            <a:normAutofit/>
          </a:bodyPr>
          <a:lstStyle>
            <a:lvl1pPr marL="14288" indent="0">
              <a:lnSpc>
                <a:spcPct val="90000"/>
              </a:lnSpc>
              <a:buNone/>
              <a:defRPr sz="2200" baseline="0">
                <a:solidFill>
                  <a:srgbClr val="A6A6A6"/>
                </a:solidFill>
                <a:latin typeface="+mj-lt"/>
              </a:defRPr>
            </a:lvl1pPr>
            <a:lvl2pPr>
              <a:defRPr baseline="0">
                <a:solidFill>
                  <a:srgbClr val="000000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/>
          <p:cNvSpPr>
            <a:spLocks noGrp="1" noChangeAspect="1"/>
          </p:cNvSpPr>
          <p:nvPr>
            <p:ph type="title"/>
          </p:nvPr>
        </p:nvSpPr>
        <p:spPr>
          <a:xfrm>
            <a:off x="811200" y="260648"/>
            <a:ext cx="8261131" cy="1008112"/>
          </a:xfrm>
          <a:prstGeom prst="rect">
            <a:avLst/>
          </a:prstGeom>
        </p:spPr>
        <p:txBody>
          <a:bodyPr wrap="square" tIns="0" rIns="0" bIns="0" anchor="b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800" b="1" i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11200" y="1639019"/>
            <a:ext cx="2643200" cy="250947"/>
          </a:xfrm>
          <a:prstGeom prst="rect">
            <a:avLst/>
          </a:prstGeom>
        </p:spPr>
        <p:txBody>
          <a:bodyPr>
            <a:noAutofit/>
          </a:bodyPr>
          <a:lstStyle>
            <a:lvl1pPr marL="14288" indent="0">
              <a:buNone/>
              <a:defRPr sz="1100" baseline="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86820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5102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6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>
              <a:solidFill>
                <a:srgbClr val="FFFFFF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 sz="2400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35678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014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4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7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7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1893549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A5A3D938-5B7F-4290-80BE-9396A9864D1A}" type="slidenum">
              <a:rPr lang="en-US" altLang="en-US" sz="12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200" y="1285861"/>
            <a:ext cx="10972800" cy="48403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-176400">
              <a:lnSpc>
                <a:spcPct val="200000"/>
              </a:lnSpc>
              <a:spcBef>
                <a:spcPts val="0"/>
              </a:spcBef>
              <a:defRPr sz="2000" baseline="0">
                <a:solidFill>
                  <a:srgbClr val="000000"/>
                </a:solidFill>
                <a:latin typeface="+mn-lt"/>
              </a:defRPr>
            </a:lvl1pPr>
            <a:lvl2pPr marL="355600" indent="-190500">
              <a:buFont typeface="Wingdings" pitchFamily="2" charset="2"/>
              <a:buChar char="§"/>
              <a:tabLst>
                <a:tab pos="355600" algn="l"/>
              </a:tabLst>
              <a:defRPr sz="2000" baseline="0">
                <a:solidFill>
                  <a:srgbClr val="000000"/>
                </a:solidFill>
                <a:latin typeface="+mn-lt"/>
              </a:defRPr>
            </a:lvl2pPr>
            <a:lvl3pPr marL="622300" indent="-228600">
              <a:buFont typeface="Calibri" pitchFamily="34" charset="0"/>
              <a:buChar char="‒"/>
              <a:tabLst>
                <a:tab pos="622300" algn="l"/>
              </a:tabLst>
              <a:defRPr sz="2000"/>
            </a:lvl3pPr>
            <a:lvl4pPr marL="533400" indent="-228600">
              <a:buFont typeface="Wingdings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14"/>
          <p:cNvSpPr>
            <a:spLocks noGrp="1" noChangeAspect="1"/>
          </p:cNvSpPr>
          <p:nvPr>
            <p:ph type="title"/>
          </p:nvPr>
        </p:nvSpPr>
        <p:spPr>
          <a:xfrm>
            <a:off x="508000" y="116632"/>
            <a:ext cx="8523323" cy="948580"/>
          </a:xfrm>
          <a:prstGeom prst="rect">
            <a:avLst/>
          </a:prstGeom>
        </p:spPr>
        <p:txBody>
          <a:bodyPr wrap="square" tIns="0" bIns="0" anchor="ctr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600" b="1" i="0" kern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066800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6126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200" smtClean="0">
                <a:solidFill>
                  <a:srgbClr val="FFFFFF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0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42000" indent="-342000">
              <a:lnSpc>
                <a:spcPct val="90000"/>
              </a:lnSpc>
              <a:buNone/>
              <a:defRPr sz="220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7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0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629672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582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6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>
              <a:solidFill>
                <a:srgbClr val="FFFFFF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 sz="2400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1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6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 sz="2400" dirty="0">
              <a:solidFill>
                <a:schemeClr val="bg1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8378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6509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4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7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7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Mphasis 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3460598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200" smtClean="0">
                <a:solidFill>
                  <a:srgbClr val="FFFFFF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0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42000" indent="-342000">
              <a:lnSpc>
                <a:spcPct val="90000"/>
              </a:lnSpc>
              <a:buNone/>
              <a:defRPr sz="220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7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0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10807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Suhas Jadhav\D Drive\2014_Mphasis Brand\PPT\jan 2014\Mphasis\Posters and cover\cover PNG\Cover_ok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903414"/>
            <a:ext cx="12210583" cy="495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D:\Suhas Jadhav\D Drive\2014_Mphasis Brand\Suhas logo\Format\Mphasis-Logo Color_CMYK 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4860" y="168310"/>
            <a:ext cx="2698757" cy="614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518584" y="1903414"/>
            <a:ext cx="11684000" cy="15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" y="1905000"/>
            <a:ext cx="1219623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29773" y="836712"/>
            <a:ext cx="2428091" cy="792162"/>
          </a:xfrm>
          <a:prstGeom prst="rect">
            <a:avLst/>
          </a:prstGeom>
        </p:spPr>
        <p:txBody>
          <a:bodyPr/>
          <a:lstStyle>
            <a:lvl1pPr marL="14288" indent="0">
              <a:buNone/>
              <a:defRPr lang="en-IN" sz="160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811200" y="1268761"/>
            <a:ext cx="8261131" cy="360040"/>
          </a:xfrm>
          <a:prstGeom prst="rect">
            <a:avLst/>
          </a:prstGeom>
        </p:spPr>
        <p:txBody>
          <a:bodyPr tIns="0" rIns="0" bIns="0" anchor="ctr" anchorCtr="0">
            <a:normAutofit/>
          </a:bodyPr>
          <a:lstStyle>
            <a:lvl1pPr marL="14288" indent="0">
              <a:lnSpc>
                <a:spcPct val="90000"/>
              </a:lnSpc>
              <a:buNone/>
              <a:defRPr sz="2200" baseline="0">
                <a:solidFill>
                  <a:srgbClr val="A6A6A6"/>
                </a:solidFill>
                <a:latin typeface="+mj-lt"/>
              </a:defRPr>
            </a:lvl1pPr>
            <a:lvl2pPr>
              <a:defRPr baseline="0">
                <a:solidFill>
                  <a:srgbClr val="000000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/>
          <p:cNvSpPr>
            <a:spLocks noGrp="1" noChangeAspect="1"/>
          </p:cNvSpPr>
          <p:nvPr>
            <p:ph type="title"/>
          </p:nvPr>
        </p:nvSpPr>
        <p:spPr>
          <a:xfrm>
            <a:off x="811200" y="260648"/>
            <a:ext cx="8261131" cy="1008112"/>
          </a:xfrm>
          <a:prstGeom prst="rect">
            <a:avLst/>
          </a:prstGeom>
        </p:spPr>
        <p:txBody>
          <a:bodyPr wrap="square" tIns="0" rIns="0" bIns="0" anchor="b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800" b="1" i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11200" y="1639019"/>
            <a:ext cx="2643200" cy="250947"/>
          </a:xfrm>
          <a:prstGeom prst="rect">
            <a:avLst/>
          </a:prstGeom>
        </p:spPr>
        <p:txBody>
          <a:bodyPr>
            <a:noAutofit/>
          </a:bodyPr>
          <a:lstStyle>
            <a:lvl1pPr marL="14288" indent="0">
              <a:buNone/>
              <a:defRPr sz="1100" baseline="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958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5200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6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>
              <a:solidFill>
                <a:srgbClr val="FFFFFF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 sz="2400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34963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6641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4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7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7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815308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A5A3D938-5B7F-4290-80BE-9396A9864D1A}" type="slidenum">
              <a:rPr lang="en-US" altLang="en-US" sz="12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200" y="1285861"/>
            <a:ext cx="10972800" cy="48403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-176400">
              <a:lnSpc>
                <a:spcPct val="200000"/>
              </a:lnSpc>
              <a:spcBef>
                <a:spcPts val="0"/>
              </a:spcBef>
              <a:defRPr sz="2000" baseline="0">
                <a:solidFill>
                  <a:srgbClr val="000000"/>
                </a:solidFill>
                <a:latin typeface="+mn-lt"/>
              </a:defRPr>
            </a:lvl1pPr>
            <a:lvl2pPr marL="355600" indent="-190500">
              <a:buFont typeface="Wingdings" pitchFamily="2" charset="2"/>
              <a:buChar char="§"/>
              <a:tabLst>
                <a:tab pos="355600" algn="l"/>
              </a:tabLst>
              <a:defRPr sz="2000" baseline="0">
                <a:solidFill>
                  <a:srgbClr val="000000"/>
                </a:solidFill>
                <a:latin typeface="+mn-lt"/>
              </a:defRPr>
            </a:lvl2pPr>
            <a:lvl3pPr marL="622300" indent="-228600">
              <a:buFont typeface="Calibri" pitchFamily="34" charset="0"/>
              <a:buChar char="‒"/>
              <a:tabLst>
                <a:tab pos="622300" algn="l"/>
              </a:tabLst>
              <a:defRPr sz="2000"/>
            </a:lvl3pPr>
            <a:lvl4pPr marL="533400" indent="-228600">
              <a:buFont typeface="Wingdings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14"/>
          <p:cNvSpPr>
            <a:spLocks noGrp="1" noChangeAspect="1"/>
          </p:cNvSpPr>
          <p:nvPr>
            <p:ph type="title"/>
          </p:nvPr>
        </p:nvSpPr>
        <p:spPr>
          <a:xfrm>
            <a:off x="508000" y="116632"/>
            <a:ext cx="8523323" cy="948580"/>
          </a:xfrm>
          <a:prstGeom prst="rect">
            <a:avLst/>
          </a:prstGeom>
        </p:spPr>
        <p:txBody>
          <a:bodyPr wrap="square" tIns="0" bIns="0" anchor="ctr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600" b="1" i="0" kern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066800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74586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200" smtClean="0">
                <a:solidFill>
                  <a:srgbClr val="FFFFFF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0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42000" indent="-342000">
              <a:lnSpc>
                <a:spcPct val="90000"/>
              </a:lnSpc>
              <a:buNone/>
              <a:defRPr sz="220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7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0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22070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07881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32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95" name="think-cell Slide" r:id="rId4" imgW="404" imgH="404" progId="TCLayout.ActiveDocument.1">
                  <p:embed/>
                </p:oleObj>
              </mc:Choice>
              <mc:Fallback>
                <p:oleObj name="think-cell Slide" r:id="rId4" imgW="404" imgH="4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27982633"/>
      </p:ext>
    </p:extLst>
  </p:cSld>
  <p:clrMapOvr>
    <a:masterClrMapping/>
  </p:clrMapOvr>
  <p:hf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1925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D:\Suhas Jadhav\D Drive\2014_Mphasis Brand\Suhas logo\Format\Mphasis-Logo Color_CMYK 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4860" y="168310"/>
            <a:ext cx="2698757" cy="614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518584" y="1903414"/>
            <a:ext cx="11684000" cy="15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" y="1905000"/>
            <a:ext cx="1219623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29773" y="836712"/>
            <a:ext cx="2428091" cy="792162"/>
          </a:xfrm>
          <a:prstGeom prst="rect">
            <a:avLst/>
          </a:prstGeom>
        </p:spPr>
        <p:txBody>
          <a:bodyPr/>
          <a:lstStyle>
            <a:lvl1pPr marL="14288" indent="0">
              <a:buNone/>
              <a:defRPr lang="en-IN" sz="160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811200" y="1268761"/>
            <a:ext cx="8261131" cy="360040"/>
          </a:xfrm>
          <a:prstGeom prst="rect">
            <a:avLst/>
          </a:prstGeom>
        </p:spPr>
        <p:txBody>
          <a:bodyPr tIns="0" rIns="0" bIns="0" anchor="ctr" anchorCtr="0">
            <a:normAutofit/>
          </a:bodyPr>
          <a:lstStyle>
            <a:lvl1pPr marL="14288" indent="0">
              <a:lnSpc>
                <a:spcPct val="90000"/>
              </a:lnSpc>
              <a:buNone/>
              <a:defRPr sz="2200" baseline="0">
                <a:solidFill>
                  <a:srgbClr val="A6A6A6"/>
                </a:solidFill>
                <a:latin typeface="+mj-lt"/>
              </a:defRPr>
            </a:lvl1pPr>
            <a:lvl2pPr>
              <a:defRPr baseline="0">
                <a:solidFill>
                  <a:srgbClr val="000000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/>
          <p:cNvSpPr>
            <a:spLocks noGrp="1" noChangeAspect="1"/>
          </p:cNvSpPr>
          <p:nvPr>
            <p:ph type="title"/>
          </p:nvPr>
        </p:nvSpPr>
        <p:spPr>
          <a:xfrm>
            <a:off x="811200" y="260648"/>
            <a:ext cx="8261131" cy="1008112"/>
          </a:xfrm>
          <a:prstGeom prst="rect">
            <a:avLst/>
          </a:prstGeom>
        </p:spPr>
        <p:txBody>
          <a:bodyPr wrap="square" tIns="0" rIns="0" bIns="0" anchor="b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800" b="1" i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11200" y="1639019"/>
            <a:ext cx="2643200" cy="250947"/>
          </a:xfrm>
          <a:prstGeom prst="rect">
            <a:avLst/>
          </a:prstGeom>
        </p:spPr>
        <p:txBody>
          <a:bodyPr>
            <a:noAutofit/>
          </a:bodyPr>
          <a:lstStyle>
            <a:lvl1pPr marL="14288" indent="0">
              <a:buNone/>
              <a:defRPr sz="1100" baseline="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594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A5A3D938-5B7F-4290-80BE-9396A9864D1A}" type="slidenum">
              <a:rPr lang="en-US" altLang="en-US" sz="12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0585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18633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5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d-ID" sz="788">
              <a:solidFill>
                <a:srgbClr val="FFFFFF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363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1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53284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4220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5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d-ID" sz="66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478DB70-9F81-40F9-8DBD-B05EEEB7E7A7}" type="slidenum">
              <a:rPr lang="en-US" sz="775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75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  <a:ea typeface="+mn-ea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8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fontAlgn="auto" hangingPunct="0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886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CONFIDENTIAL</a:t>
            </a:r>
            <a:r>
              <a:rPr lang="en-US" sz="886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24850966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age Seperator Title and Content">
    <p:bg>
      <p:bgPr>
        <a:solidFill>
          <a:srgbClr val="494A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953" b="1" u="sng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0" name="Chevron 9"/>
          <p:cNvSpPr/>
          <p:nvPr userDrawn="1"/>
        </p:nvSpPr>
        <p:spPr>
          <a:xfrm>
            <a:off x="914400" y="5212775"/>
            <a:ext cx="182880" cy="381000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5" dirty="0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1" y="152401"/>
            <a:ext cx="2633389" cy="660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576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59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5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4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006" rIns="45006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181" smtClean="0">
                <a:solidFill>
                  <a:srgbClr val="FFFFFF"/>
                </a:solidFill>
                <a:latin typeface="Calibri" pitchFamily="34" charset="0"/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118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953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1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36656" indent="-336656">
              <a:lnSpc>
                <a:spcPct val="90000"/>
              </a:lnSpc>
              <a:buNone/>
              <a:defRPr sz="2166" baseline="0">
                <a:solidFill>
                  <a:srgbClr val="000000"/>
                </a:solidFill>
              </a:defRPr>
            </a:lvl1pPr>
            <a:lvl2pPr marL="450056" indent="0">
              <a:buNone/>
              <a:defRPr sz="1772">
                <a:solidFill>
                  <a:schemeClr val="tx1">
                    <a:tint val="75000"/>
                  </a:schemeClr>
                </a:solidFill>
              </a:defRPr>
            </a:lvl2pPr>
            <a:lvl3pPr marL="900113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50169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4pPr>
            <a:lvl5pPr marL="1800225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5pPr>
            <a:lvl6pPr marL="2250281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6pPr>
            <a:lvl7pPr marL="2700338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7pPr>
            <a:lvl8pPr marL="3150394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8pPr>
            <a:lvl9pPr marL="3600450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8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1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14372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4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7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  <a:ea typeface="+mn-ea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7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Mphasis 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3768260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18584" y="0"/>
            <a:ext cx="11673416" cy="4953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594" anchor="ctr"/>
          <a:lstStyle/>
          <a:p>
            <a:pPr algn="ctr">
              <a:defRPr/>
            </a:pPr>
            <a:endParaRPr lang="en-US" sz="1805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4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006" rIns="45006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181" smtClean="0">
                <a:solidFill>
                  <a:srgbClr val="FFFFFF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18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7369069" y="1327155"/>
            <a:ext cx="1840992" cy="1371351"/>
          </a:xfrm>
          <a:prstGeom prst="rect">
            <a:avLst/>
          </a:prstGeom>
          <a:ln w="12700">
            <a:solidFill>
              <a:schemeClr val="bg1"/>
            </a:solidFill>
          </a:ln>
        </p:spPr>
        <p:txBody>
          <a:bodyPr anchor="ctr" anchorCtr="0"/>
          <a:lstStyle>
            <a:lvl1pPr marL="14064" indent="0" algn="ctr">
              <a:buNone/>
              <a:defRPr lang="en-IN" sz="1378" baseline="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9211733" y="2702723"/>
            <a:ext cx="2980267" cy="2259329"/>
          </a:xfrm>
          <a:prstGeom prst="rect">
            <a:avLst/>
          </a:prstGeom>
          <a:ln w="12700">
            <a:solidFill>
              <a:schemeClr val="bg1"/>
            </a:solidFill>
          </a:ln>
        </p:spPr>
        <p:txBody>
          <a:bodyPr anchor="ctr" anchorCtr="0"/>
          <a:lstStyle>
            <a:lvl1pPr marL="14064" indent="0" algn="ctr">
              <a:buNone/>
              <a:defRPr lang="en-IN" sz="1378" baseline="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6026154" y="2702721"/>
            <a:ext cx="1341247" cy="1016794"/>
          </a:xfrm>
          <a:prstGeom prst="rect">
            <a:avLst/>
          </a:prstGeom>
          <a:ln w="127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lang="en-IN" sz="1378" baseline="0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pic>
        <p:nvPicPr>
          <p:cNvPr id="20483" name="Picture 3" descr="D:\Suhas Jadhav\D Drive\2014_Mphasis Brand\PPT\Corporate_PPT_Branding_Generic_Based_new logo\images\sep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" t="6306"/>
          <a:stretch/>
        </p:blipFill>
        <p:spPr bwMode="auto">
          <a:xfrm>
            <a:off x="0" y="2"/>
            <a:ext cx="12208933" cy="495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953" b="1" cap="none" baseline="0">
                <a:solidFill>
                  <a:srgbClr val="1895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1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36656" indent="-336656">
              <a:lnSpc>
                <a:spcPct val="90000"/>
              </a:lnSpc>
              <a:buNone/>
              <a:defRPr sz="2166" baseline="0">
                <a:solidFill>
                  <a:srgbClr val="000000"/>
                </a:solidFill>
              </a:defRPr>
            </a:lvl1pPr>
            <a:lvl2pPr marL="450056" indent="0">
              <a:buNone/>
              <a:defRPr sz="1772">
                <a:solidFill>
                  <a:schemeClr val="tx1">
                    <a:tint val="75000"/>
                  </a:schemeClr>
                </a:solidFill>
              </a:defRPr>
            </a:lvl2pPr>
            <a:lvl3pPr marL="900113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50169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4pPr>
            <a:lvl5pPr marL="1800225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5pPr>
            <a:lvl6pPr marL="2250281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6pPr>
            <a:lvl7pPr marL="2700338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7pPr>
            <a:lvl8pPr marL="3150394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8pPr>
            <a:lvl9pPr marL="3600450" indent="0">
              <a:buNone/>
              <a:defRPr sz="137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40085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Suhas Jadhav\D Drive\2014_Mphasis Brand\PPT\jan 2014\Mphasis\Posters and cover\cover PNG\Cover_ok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1903415"/>
            <a:ext cx="12210583" cy="495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D:\Suhas Jadhav\D Drive\2014_Mphasis Brand\Suhas logo\Format\Mphasis-Logo Color_CMYK 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4861" y="168311"/>
            <a:ext cx="2698757" cy="614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518584" y="1903415"/>
            <a:ext cx="11684000" cy="15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" y="1905000"/>
            <a:ext cx="1219623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29774" y="836713"/>
            <a:ext cx="2428091" cy="792162"/>
          </a:xfrm>
          <a:prstGeom prst="rect">
            <a:avLst/>
          </a:prstGeom>
        </p:spPr>
        <p:txBody>
          <a:bodyPr/>
          <a:lstStyle>
            <a:lvl1pPr marL="14064" indent="0">
              <a:buNone/>
              <a:defRPr lang="en-IN" sz="1575" smtClean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IN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811200" y="1268762"/>
            <a:ext cx="8261131" cy="360040"/>
          </a:xfrm>
          <a:prstGeom prst="rect">
            <a:avLst/>
          </a:prstGeom>
        </p:spPr>
        <p:txBody>
          <a:bodyPr tIns="0" rIns="0" bIns="0" anchor="ctr" anchorCtr="0">
            <a:normAutofit/>
          </a:bodyPr>
          <a:lstStyle>
            <a:lvl1pPr marL="14064" indent="0">
              <a:lnSpc>
                <a:spcPct val="90000"/>
              </a:lnSpc>
              <a:buNone/>
              <a:defRPr sz="2166" baseline="0">
                <a:solidFill>
                  <a:srgbClr val="A6A6A6"/>
                </a:solidFill>
                <a:latin typeface="+mj-lt"/>
              </a:defRPr>
            </a:lvl1pPr>
            <a:lvl2pPr>
              <a:defRPr baseline="0">
                <a:solidFill>
                  <a:srgbClr val="000000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/>
          <p:cNvSpPr>
            <a:spLocks noGrp="1" noChangeAspect="1"/>
          </p:cNvSpPr>
          <p:nvPr>
            <p:ph type="title"/>
          </p:nvPr>
        </p:nvSpPr>
        <p:spPr>
          <a:xfrm>
            <a:off x="811200" y="260649"/>
            <a:ext cx="8261131" cy="1008112"/>
          </a:xfrm>
          <a:prstGeom prst="rect">
            <a:avLst/>
          </a:prstGeom>
        </p:spPr>
        <p:txBody>
          <a:bodyPr wrap="square" tIns="0" rIns="0" bIns="0" anchor="b" anchorCtr="0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756" b="1" i="0" baseline="0">
                <a:solidFill>
                  <a:srgbClr val="1895DD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11200" y="1639020"/>
            <a:ext cx="2643200" cy="250947"/>
          </a:xfrm>
          <a:prstGeom prst="rect">
            <a:avLst/>
          </a:prstGeom>
        </p:spPr>
        <p:txBody>
          <a:bodyPr>
            <a:noAutofit/>
          </a:bodyPr>
          <a:lstStyle>
            <a:lvl1pPr marL="14064" indent="0">
              <a:buNone/>
              <a:defRPr sz="1083" baseline="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67611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age Seperator Title and Content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953" b="1" u="sng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0" name="Chevron 9"/>
          <p:cNvSpPr/>
          <p:nvPr userDrawn="1"/>
        </p:nvSpPr>
        <p:spPr>
          <a:xfrm>
            <a:off x="914400" y="5212775"/>
            <a:ext cx="182880" cy="381000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5" dirty="0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1" y="152401"/>
            <a:ext cx="2633389" cy="660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08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rgbClr val="32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8" name="think-cell Slide" r:id="rId4" imgW="404" imgH="404" progId="TCLayout.ActiveDocument.1">
                  <p:embed/>
                </p:oleObj>
              </mc:Choice>
              <mc:Fallback>
                <p:oleObj name="think-cell Slide" r:id="rId4" imgW="404" imgH="40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7215427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Seperato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4953000"/>
          </a:xfrm>
          <a:prstGeom prst="rect">
            <a:avLst/>
          </a:prstGeom>
          <a:solidFill>
            <a:srgbClr val="E2CF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" name="Subtitle 2"/>
          <p:cNvSpPr>
            <a:spLocks/>
          </p:cNvSpPr>
          <p:nvPr userDrawn="1"/>
        </p:nvSpPr>
        <p:spPr bwMode="auto">
          <a:xfrm flipH="1">
            <a:off x="48684" y="6553201"/>
            <a:ext cx="40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92075" indent="-3429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r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  <a:defRPr/>
            </a:pPr>
            <a:fld id="{37B6A363-2ACD-4379-B9BF-3F19D3B8110A}" type="slidenum">
              <a:rPr lang="en-US" altLang="en-US" sz="1200" smtClean="0">
                <a:solidFill>
                  <a:schemeClr val="bg1"/>
                </a:solidFill>
                <a:latin typeface="Calibri" pitchFamily="34" charset="0"/>
              </a:rPr>
              <a:pPr algn="ctr" eaLnBrk="1" hangingPunct="1">
                <a:buFont typeface="Wingdings" pitchFamily="2" charset="2"/>
                <a:buNone/>
                <a:defRPr/>
              </a:pPr>
              <a:t>‹#›</a:t>
            </a:fld>
            <a:endParaRPr lang="en-US" altLang="en-US" sz="12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200" y="4988938"/>
            <a:ext cx="10363200" cy="8286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1895D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200" y="5925910"/>
            <a:ext cx="10363200" cy="432048"/>
          </a:xfrm>
          <a:prstGeom prst="rect">
            <a:avLst/>
          </a:prstGeom>
        </p:spPr>
        <p:txBody>
          <a:bodyPr anchor="b">
            <a:normAutofit/>
          </a:bodyPr>
          <a:lstStyle>
            <a:lvl1pPr marL="342000" indent="-342000">
              <a:lnSpc>
                <a:spcPct val="90000"/>
              </a:lnSpc>
              <a:buNone/>
              <a:defRPr sz="220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85" y="2691046"/>
            <a:ext cx="1371184" cy="1028388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367" y="1327940"/>
            <a:ext cx="1817475" cy="136310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840" y="2698322"/>
            <a:ext cx="2981955" cy="2236466"/>
          </a:xfrm>
          <a:prstGeom prst="rect">
            <a:avLst/>
          </a:prstGeom>
          <a:noFill/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63347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1006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2790" y="-16936"/>
            <a:ext cx="12204790" cy="760720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>
              <a:solidFill>
                <a:srgbClr val="FFFFFF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160500" y="-44003"/>
            <a:ext cx="120315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 sz="2400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10515600" cy="378659"/>
          </a:xfrm>
          <a:prstGeom prst="rect">
            <a:avLst/>
          </a:prstGeom>
        </p:spPr>
        <p:txBody>
          <a:bodyPr anchor="ctr"/>
          <a:lstStyle>
            <a:lvl1pPr>
              <a:defRPr b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7723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0402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602514"/>
            <a:ext cx="12192000" cy="1264036"/>
          </a:xfrm>
          <a:prstGeom prst="rect">
            <a:avLst/>
          </a:prstGeom>
          <a:solidFill>
            <a:srgbClr val="2A3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75">
              <a:solidFill>
                <a:srgbClr val="FFFFFF"/>
              </a:solidFill>
            </a:endParaRPr>
          </a:p>
        </p:txBody>
      </p:sp>
      <p:sp>
        <p:nvSpPr>
          <p:cNvPr id="3" name="Text Box 12"/>
          <p:cNvSpPr txBox="1">
            <a:spLocks noChangeArrowheads="1"/>
          </p:cNvSpPr>
          <p:nvPr userDrawn="1"/>
        </p:nvSpPr>
        <p:spPr bwMode="auto">
          <a:xfrm>
            <a:off x="11394831" y="664051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10239377" y="6602934"/>
            <a:ext cx="1647873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Mphasis 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277106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vmlDrawing" Target="../drawings/vmlDrawing8.v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798543"/>
              </p:ext>
            </p:extLst>
          </p:nvPr>
        </p:nvGraphicFramePr>
        <p:xfrm>
          <a:off x="2139" y="162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8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71640" y="654936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  <a:ea typeface="+mn-ea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5286351" y="6500801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Mphasis CONFIDENTIAL</a:t>
            </a:r>
            <a:endParaRPr lang="en-US" sz="900" kern="0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243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4" r:id="rId2"/>
    <p:sldLayoutId id="2147483805" r:id="rId3"/>
    <p:sldLayoutId id="2147483803" r:id="rId4"/>
    <p:sldLayoutId id="2147483808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35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32272" indent="-17502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44241" indent="-1726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871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2300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729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9158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39" y="162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71640" y="654936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5286351" y="6500801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Mphasis CONFIDENTIAL</a:t>
            </a:r>
            <a:endParaRPr lang="en-US" sz="900" kern="0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807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35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32272" indent="-17502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44241" indent="-1726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871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2300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729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9158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39" y="162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94831" y="6641038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10267949" y="6602934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 </a:t>
            </a:r>
          </a:p>
        </p:txBody>
      </p:sp>
    </p:spTree>
    <p:extLst>
      <p:ext uri="{BB962C8B-B14F-4D97-AF65-F5344CB8AC3E}">
        <p14:creationId xmlns:p14="http://schemas.microsoft.com/office/powerpoint/2010/main" val="1050314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35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32272" indent="-17502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44241" indent="-1726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871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2300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729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9158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39" y="162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71640" y="6549363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5286351" y="6500801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Mphasis CONFIDENTIAL</a:t>
            </a:r>
            <a:endParaRPr lang="en-US" sz="900" kern="0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5147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35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32272" indent="-17502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44241" indent="-1726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871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2300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729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9158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39" y="162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94831" y="6641038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478DB70-9F81-40F9-8DBD-B05EEEB7E7A7}" type="slidenum">
              <a:rPr lang="en-US" sz="788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pPr algn="r">
                <a:defRPr/>
              </a:pPr>
              <a:t>‹#›</a:t>
            </a:fld>
            <a:endParaRPr lang="en-US" sz="788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10267949" y="6602934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hangingPunct="0">
              <a:spcBef>
                <a:spcPct val="20000"/>
              </a:spcBef>
              <a:defRPr/>
            </a:pPr>
            <a:r>
              <a:rPr lang="en-US" sz="900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CONFIDENTIAL</a:t>
            </a:r>
            <a:r>
              <a:rPr lang="en-US" sz="900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</a:rPr>
              <a:t> -  </a:t>
            </a:r>
          </a:p>
        </p:txBody>
      </p:sp>
    </p:spTree>
    <p:extLst>
      <p:ext uri="{BB962C8B-B14F-4D97-AF65-F5344CB8AC3E}">
        <p14:creationId xmlns:p14="http://schemas.microsoft.com/office/powerpoint/2010/main" val="379407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35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32272" indent="-17502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44241" indent="-1726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5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871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2300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729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915841" indent="-17264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38" y="161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7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8" y="161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8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</p:spTree>
    <p:extLst>
      <p:ext uri="{BB962C8B-B14F-4D97-AF65-F5344CB8AC3E}">
        <p14:creationId xmlns:p14="http://schemas.microsoft.com/office/powerpoint/2010/main" val="367772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5161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33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2139" y="162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1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9" y="162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2709" y="1506538"/>
            <a:ext cx="1106658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94831" y="6641038"/>
            <a:ext cx="234463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478DB70-9F81-40F9-8DBD-B05EEEB7E7A7}" type="slidenum">
              <a:rPr lang="en-US" sz="775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75" dirty="0">
              <a:solidFill>
                <a:srgbClr val="FFFFFF">
                  <a:lumMod val="75000"/>
                </a:srgbClr>
              </a:solidFill>
              <a:latin typeface="Corbel" panose="020B0503020204020204" pitchFamily="34" charset="0"/>
              <a:ea typeface="+mn-ea"/>
            </a:endParaRPr>
          </a:p>
        </p:txBody>
      </p:sp>
      <p:sp>
        <p:nvSpPr>
          <p:cNvPr id="7" name="Text Placeholder 3"/>
          <p:cNvSpPr txBox="1">
            <a:spLocks/>
          </p:cNvSpPr>
          <p:nvPr userDrawn="1"/>
        </p:nvSpPr>
        <p:spPr>
          <a:xfrm>
            <a:off x="10267950" y="6602934"/>
            <a:ext cx="1619299" cy="3571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0" fontAlgn="auto" hangingPunct="0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886" i="1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CONFIDENTIAL</a:t>
            </a:r>
            <a:r>
              <a:rPr lang="en-US" sz="886" kern="0" dirty="0">
                <a:solidFill>
                  <a:srgbClr val="FFFFFF">
                    <a:lumMod val="75000"/>
                  </a:srgbClr>
                </a:solidFill>
                <a:latin typeface="Corbel" panose="020B0503020204020204" pitchFamily="34" charset="0"/>
                <a:ea typeface="+mn-ea"/>
              </a:rPr>
              <a:t> -  </a:t>
            </a:r>
          </a:p>
        </p:txBody>
      </p:sp>
    </p:spTree>
    <p:extLst>
      <p:ext uri="{BB962C8B-B14F-4D97-AF65-F5344CB8AC3E}">
        <p14:creationId xmlns:p14="http://schemas.microsoft.com/office/powerpoint/2010/main" val="2818298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363" b="1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37542" algn="l" rtl="0" fontAlgn="base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75084" algn="l" rtl="0" fontAlgn="base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012627" algn="l" rtl="0" fontAlgn="base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350169" algn="l" rtl="0" fontAlgn="base">
        <a:spcBef>
          <a:spcPct val="0"/>
        </a:spcBef>
        <a:spcAft>
          <a:spcPct val="0"/>
        </a:spcAft>
        <a:defRPr sz="1772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53157" indent="-253157" algn="l" rtl="0" eaLnBrk="0" fontAlgn="base" hangingPunct="0">
        <a:spcBef>
          <a:spcPct val="20000"/>
        </a:spcBef>
        <a:spcAft>
          <a:spcPct val="0"/>
        </a:spcAft>
        <a:buChar char="•"/>
        <a:defRPr sz="1329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37542" indent="-16877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329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75084" indent="-16877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29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016143" indent="-17228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29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20112" indent="-1699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29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57654" indent="-16994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81">
          <a:solidFill>
            <a:schemeClr val="tx1"/>
          </a:solidFill>
          <a:latin typeface="+mn-lt"/>
          <a:cs typeface="+mn-cs"/>
        </a:defRPr>
      </a:lvl6pPr>
      <a:lvl7pPr marL="2195197" indent="-16994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81">
          <a:solidFill>
            <a:schemeClr val="tx1"/>
          </a:solidFill>
          <a:latin typeface="+mn-lt"/>
          <a:cs typeface="+mn-cs"/>
        </a:defRPr>
      </a:lvl7pPr>
      <a:lvl8pPr marL="2532739" indent="-16994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81">
          <a:solidFill>
            <a:schemeClr val="tx1"/>
          </a:solidFill>
          <a:latin typeface="+mn-lt"/>
          <a:cs typeface="+mn-cs"/>
        </a:defRPr>
      </a:lvl8pPr>
      <a:lvl9pPr marL="2870281" indent="-16994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8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1pPr>
      <a:lvl2pPr marL="337542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2pPr>
      <a:lvl3pPr marL="675084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3pPr>
      <a:lvl4pPr marL="1012627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4pPr>
      <a:lvl5pPr marL="1350169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5pPr>
      <a:lvl6pPr marL="1687711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6pPr>
      <a:lvl7pPr marL="2025253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7pPr>
      <a:lvl8pPr marL="2362795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8pPr>
      <a:lvl9pPr marL="2700338" algn="l" defTabSz="675084" rtl="0" eaLnBrk="1" latinLnBrk="0" hangingPunct="1">
        <a:defRPr sz="13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A3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9" name="think-cell Slide" r:id="rId6" imgW="404" imgH="404" progId="TCLayout.ActiveDocument.1">
                  <p:embed/>
                </p:oleObj>
              </mc:Choice>
              <mc:Fallback>
                <p:oleObj name="think-cell Slide" r:id="rId6" imgW="404" imgH="40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363325" y="6675548"/>
            <a:ext cx="333375" cy="126778"/>
          </a:xfrm>
          <a:prstGeom prst="rect">
            <a:avLst/>
          </a:prstGeom>
          <a:solidFill>
            <a:srgbClr val="2A303C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00" y="2857831"/>
            <a:ext cx="3928789" cy="985837"/>
          </a:xfrm>
          <a:prstGeom prst="rect">
            <a:avLst/>
          </a:prstGeom>
        </p:spPr>
      </p:pic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304800" y="3039473"/>
            <a:ext cx="6172200" cy="8041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4000" b="1" dirty="0" smtClean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WS </a:t>
            </a:r>
            <a:r>
              <a:rPr lang="en-US" sz="4000" b="1" dirty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EC2 </a:t>
            </a:r>
            <a:r>
              <a:rPr lang="en-US" sz="4000" b="1" dirty="0" smtClean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en-US" sz="4000" b="1" dirty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Custom Oracle Linux </a:t>
            </a:r>
            <a:r>
              <a:rPr lang="en-US" sz="4000" b="1" dirty="0" smtClean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MI</a:t>
            </a:r>
          </a:p>
          <a:p>
            <a:endParaRPr lang="en-US" sz="4000" b="1" dirty="0">
              <a:solidFill>
                <a:schemeClr val="bg1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adipta Basu</a:t>
            </a:r>
            <a:endParaRPr lang="en-US" sz="2000" dirty="0">
              <a:solidFill>
                <a:schemeClr val="bg1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8491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212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326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4724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1515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850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305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283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0514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410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243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4171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0116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0326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142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246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3039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0273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973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280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809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3741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1978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6596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1463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7676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686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8100"/>
            <a:ext cx="10515600" cy="723900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Convert network interface name from ens0p3 to eth0   (For OL7 or RHEL7 or CentOS 7 onwards)</a:t>
            </a:r>
            <a:endParaRPr lang="en-US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990600"/>
            <a:ext cx="118110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vi</a:t>
            </a:r>
            <a:r>
              <a:rPr lang="en-US" dirty="0"/>
              <a:t> </a:t>
            </a:r>
            <a:r>
              <a:rPr lang="en-US" b="1" dirty="0"/>
              <a:t>/</a:t>
            </a:r>
            <a:r>
              <a:rPr lang="en-US" dirty="0" smtClean="0"/>
              <a:t>etc</a:t>
            </a:r>
            <a:r>
              <a:rPr lang="en-US" b="1" dirty="0" smtClean="0"/>
              <a:t>/</a:t>
            </a:r>
            <a:r>
              <a:rPr lang="en-US" dirty="0" err="1" smtClean="0"/>
              <a:t>sysconfig</a:t>
            </a:r>
            <a:r>
              <a:rPr lang="en-US" b="1" dirty="0" smtClean="0"/>
              <a:t>/</a:t>
            </a:r>
            <a:r>
              <a:rPr lang="en-US" dirty="0" smtClean="0"/>
              <a:t>grub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n searching for “GRUB_CMDLINE_LINUX” line  and appending the following content “</a:t>
            </a:r>
            <a:r>
              <a:rPr lang="en-US" dirty="0" err="1"/>
              <a:t>net.ifnames</a:t>
            </a:r>
            <a:r>
              <a:rPr lang="en-US" dirty="0"/>
              <a:t>=0 </a:t>
            </a:r>
            <a:r>
              <a:rPr lang="en-US" dirty="0" err="1"/>
              <a:t>biosdevname</a:t>
            </a:r>
            <a:r>
              <a:rPr lang="en-US" dirty="0"/>
              <a:t>=0“, just like the below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RUB_CMDLINE_LINUX="rd.lvm.lv=centos/swap </a:t>
            </a:r>
            <a:r>
              <a:rPr lang="en-US" dirty="0" err="1"/>
              <a:t>vconsole.font</a:t>
            </a:r>
            <a:r>
              <a:rPr lang="en-US" dirty="0"/>
              <a:t>=latarcyrheb-sun16 rd.lvm.lv=centos/root </a:t>
            </a:r>
            <a:r>
              <a:rPr lang="en-US" dirty="0" err="1"/>
              <a:t>crashkernel</a:t>
            </a:r>
            <a:r>
              <a:rPr lang="en-US" dirty="0"/>
              <a:t>=auto  </a:t>
            </a:r>
            <a:r>
              <a:rPr lang="en-US" dirty="0" err="1"/>
              <a:t>vconsole.keymap</a:t>
            </a:r>
            <a:r>
              <a:rPr lang="en-US" dirty="0"/>
              <a:t>=us </a:t>
            </a:r>
            <a:r>
              <a:rPr lang="en-US" dirty="0" err="1"/>
              <a:t>rhgb</a:t>
            </a:r>
            <a:r>
              <a:rPr lang="en-US" dirty="0"/>
              <a:t> quiet </a:t>
            </a:r>
            <a:r>
              <a:rPr lang="en-US" dirty="0" err="1"/>
              <a:t>net.ifnames</a:t>
            </a:r>
            <a:r>
              <a:rPr lang="en-US" dirty="0"/>
              <a:t>=0 </a:t>
            </a:r>
            <a:r>
              <a:rPr lang="en-US" dirty="0" err="1" smtClean="0"/>
              <a:t>biosdevname</a:t>
            </a:r>
            <a:r>
              <a:rPr lang="en-US" dirty="0" smtClean="0"/>
              <a:t>=0“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ub2-mkconfig  -o </a:t>
            </a:r>
            <a:r>
              <a:rPr lang="en-US" b="1" dirty="0"/>
              <a:t>/</a:t>
            </a:r>
            <a:r>
              <a:rPr lang="en-US" dirty="0" smtClean="0"/>
              <a:t>boot</a:t>
            </a:r>
            <a:r>
              <a:rPr lang="en-US" b="1" dirty="0" smtClean="0"/>
              <a:t>/</a:t>
            </a:r>
            <a:r>
              <a:rPr lang="en-US" dirty="0" smtClean="0"/>
              <a:t>grub2</a:t>
            </a:r>
            <a:r>
              <a:rPr lang="en-US" b="1" dirty="0" smtClean="0"/>
              <a:t>/</a:t>
            </a:r>
            <a:r>
              <a:rPr lang="en-US" dirty="0" err="1" smtClean="0"/>
              <a:t>grub.cfg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v /etc/</a:t>
            </a:r>
            <a:r>
              <a:rPr lang="en-US" dirty="0" err="1"/>
              <a:t>sysconfig</a:t>
            </a:r>
            <a:r>
              <a:rPr lang="en-US" dirty="0"/>
              <a:t>/network-scripts/ifcfg-enp0s3  /</a:t>
            </a:r>
            <a:r>
              <a:rPr lang="en-US" dirty="0" smtClean="0"/>
              <a:t>etc/</a:t>
            </a:r>
            <a:r>
              <a:rPr lang="en-US" dirty="0" err="1" smtClean="0"/>
              <a:t>sysconfig</a:t>
            </a:r>
            <a:r>
              <a:rPr lang="en-US" dirty="0" smtClean="0"/>
              <a:t>/network-scripts/ifcfg-eth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i </a:t>
            </a:r>
            <a:r>
              <a:rPr lang="en-US" dirty="0"/>
              <a:t>/</a:t>
            </a:r>
            <a:r>
              <a:rPr lang="en-US" dirty="0" smtClean="0"/>
              <a:t>etc/</a:t>
            </a:r>
            <a:r>
              <a:rPr lang="en-US" dirty="0" err="1" smtClean="0"/>
              <a:t>sysconfig</a:t>
            </a:r>
            <a:r>
              <a:rPr lang="en-US" dirty="0" smtClean="0"/>
              <a:t>/network-scripts/ifcfg-eth0    (keep only below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YPE=Ethern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BOOTPROTO=</a:t>
            </a:r>
            <a:r>
              <a:rPr lang="en-US" dirty="0" err="1"/>
              <a:t>dhcp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ROUTE=y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PV4_FAILURE_FATAL=y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AME=eth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VICE=eth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NBOOT=y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ERDNS=y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EERROUTES=y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977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4102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997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0462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3628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741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666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2445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8575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9960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3420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43922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62918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6444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477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3839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04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63722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854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34050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5156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57006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25048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r="51171" b="39584"/>
          <a:stretch/>
        </p:blipFill>
        <p:spPr>
          <a:xfrm>
            <a:off x="0" y="762000"/>
            <a:ext cx="6353175" cy="4419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r="51757" b="54167"/>
          <a:stretch/>
        </p:blipFill>
        <p:spPr>
          <a:xfrm>
            <a:off x="6353175" y="762000"/>
            <a:ext cx="6276975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1279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8710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93316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86859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818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53103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4498" y="87584"/>
          <a:ext cx="1548" cy="15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2" name="think-cell Slide" r:id="rId6" imgW="404" imgH="404" progId="TCLayout.ActiveDocument.1">
                  <p:embed/>
                </p:oleObj>
              </mc:Choice>
              <mc:Fallback>
                <p:oleObj name="think-cell Slide" r:id="rId6" imgW="404" imgH="40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4498" y="87584"/>
                        <a:ext cx="1548" cy="15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231174" y="6594096"/>
            <a:ext cx="325011" cy="123598"/>
          </a:xfrm>
          <a:prstGeom prst="rect">
            <a:avLst/>
          </a:prstGeom>
          <a:solidFill>
            <a:srgbClr val="2A303C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89146" tIns="89146" rIns="89146" bIns="89146" numCol="1" rtlCol="0" anchor="ctr" anchorCtr="0" compatLnSpc="1">
            <a:prstTxWarp prst="textNoShape">
              <a:avLst/>
            </a:prstTxWarp>
          </a:bodyPr>
          <a:lstStyle/>
          <a:p>
            <a:pPr algn="ctr" defTabSz="891393">
              <a:defRPr/>
            </a:pPr>
            <a:endParaRPr lang="en-US" sz="877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6020" y="2872165"/>
            <a:ext cx="3830218" cy="961103"/>
          </a:xfrm>
          <a:prstGeom prst="rect">
            <a:avLst/>
          </a:prstGeom>
        </p:spPr>
      </p:pic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450099" y="3057563"/>
            <a:ext cx="6017342" cy="78401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defTabSz="891393">
              <a:defRPr/>
            </a:pPr>
            <a:r>
              <a:rPr lang="en-US" sz="4679" b="1" dirty="0">
                <a:solidFill>
                  <a:srgbClr val="FFFFFF"/>
                </a:solidFill>
                <a:latin typeface="Corbel" panose="020B0503020204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Thank You</a:t>
            </a:r>
            <a:endParaRPr lang="en-US" sz="1560" i="1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defTabSz="891393">
              <a:defRPr/>
            </a:pPr>
            <a:endParaRPr lang="en-US" i="1" dirty="0">
              <a:solidFill>
                <a:srgbClr val="FFFFFF"/>
              </a:solidFill>
              <a:latin typeface="Corbel" panose="020B0503020204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7306991"/>
      </p:ext>
    </p:extLst>
  </p:cSld>
  <p:clrMapOvr>
    <a:masterClrMapping/>
  </p:clrMapOvr>
  <p:transition spd="slow" advClick="0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79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2286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6865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9575" y="-3048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777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SectionHead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SectionHead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7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bla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_blank">
  <a:themeElements>
    <a:clrScheme name="blank 6">
      <a:dk1>
        <a:srgbClr val="000000"/>
      </a:dk1>
      <a:lt1>
        <a:srgbClr val="FFFFFF"/>
      </a:lt1>
      <a:dk2>
        <a:srgbClr val="01356F"/>
      </a:dk2>
      <a:lt2>
        <a:srgbClr val="808080"/>
      </a:lt2>
      <a:accent1>
        <a:srgbClr val="E2E2E2"/>
      </a:accent1>
      <a:accent2>
        <a:srgbClr val="A0B4D4"/>
      </a:accent2>
      <a:accent3>
        <a:srgbClr val="FFFFFF"/>
      </a:accent3>
      <a:accent4>
        <a:srgbClr val="000000"/>
      </a:accent4>
      <a:accent5>
        <a:srgbClr val="EEEEEE"/>
      </a:accent5>
      <a:accent6>
        <a:srgbClr val="91A3C0"/>
      </a:accent6>
      <a:hlink>
        <a:srgbClr val="0071B4"/>
      </a:hlink>
      <a:folHlink>
        <a:srgbClr val="2FB8E9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BAC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0AAD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EBFDA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DADC5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1356F"/>
        </a:dk2>
        <a:lt2>
          <a:srgbClr val="808080"/>
        </a:lt2>
        <a:accent1>
          <a:srgbClr val="E2E2E2"/>
        </a:accent1>
        <a:accent2>
          <a:srgbClr val="A0B4D4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91A3C0"/>
        </a:accent6>
        <a:hlink>
          <a:srgbClr val="0071B4"/>
        </a:hlink>
        <a:folHlink>
          <a:srgbClr val="2FB8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1May2014</Template>
  <TotalTime>70054</TotalTime>
  <Words>665</Words>
  <Application>Microsoft Office PowerPoint</Application>
  <PresentationFormat>Widescreen</PresentationFormat>
  <Paragraphs>170</Paragraphs>
  <Slides>60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6" baseType="lpstr">
      <vt:lpstr>MS PGothic</vt:lpstr>
      <vt:lpstr>Arial</vt:lpstr>
      <vt:lpstr>Arial Unicode MS</vt:lpstr>
      <vt:lpstr>Calibri</vt:lpstr>
      <vt:lpstr>Corbel</vt:lpstr>
      <vt:lpstr>inherit</vt:lpstr>
      <vt:lpstr>Wingdings</vt:lpstr>
      <vt:lpstr>ヒラギノ角ゴ Pro W3</vt:lpstr>
      <vt:lpstr>3_blank</vt:lpstr>
      <vt:lpstr>4_blank</vt:lpstr>
      <vt:lpstr>5_blank</vt:lpstr>
      <vt:lpstr>6_blank</vt:lpstr>
      <vt:lpstr>7_blank</vt:lpstr>
      <vt:lpstr>8_blank</vt:lpstr>
      <vt:lpstr>10_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vert network interface name from ens0p3 to eth0   (For OL7 or RHEL7 or CentOS 7 onward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PHAS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ols, automation and roadmap for breakthrough enhancement to deliver business value and productivity</dc:title>
  <dc:creator>Amit.Malhotra@mphasis.com</dc:creator>
  <cp:lastModifiedBy>Pradipta Basu</cp:lastModifiedBy>
  <cp:revision>5080</cp:revision>
  <cp:lastPrinted>2012-12-16T21:24:39Z</cp:lastPrinted>
  <dcterms:created xsi:type="dcterms:W3CDTF">2015-01-12T15:03:57Z</dcterms:created>
  <dcterms:modified xsi:type="dcterms:W3CDTF">2017-08-10T12:43:55Z</dcterms:modified>
</cp:coreProperties>
</file>